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672" r:id="rId4"/>
    <p:sldMasterId id="2147483755" r:id="rId5"/>
  </p:sldMasterIdLst>
  <p:notesMasterIdLst>
    <p:notesMasterId r:id="rId7"/>
  </p:notesMasterIdLst>
  <p:sldIdLst>
    <p:sldId id="2147482080" r:id="rId6"/>
  </p:sldIdLst>
  <p:sldSz cx="9144000" cy="5143500" type="screen16x9"/>
  <p:notesSz cx="6858000" cy="9144000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ユーザー" initials="Office" lastIdx="1" clrIdx="0"/>
  <p:cmAuthor id="2" name="Microsoft Office ユーザー" initials="Office [2]" lastIdx="1" clrIdx="1"/>
  <p:cmAuthor id="3" name="宿輪 大地" initials="宿輪" lastIdx="1" clrIdx="2">
    <p:extLst>
      <p:ext uri="{19B8F6BF-5375-455C-9EA6-DF929625EA0E}">
        <p15:presenceInfo xmlns:p15="http://schemas.microsoft.com/office/powerpoint/2012/main" userId="S::daichi.shukuwa@samuraiincubate.onmicrosoft.com::63d22b7b-ddd8-47d3-a7e9-316553b41bc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BE5D6"/>
    <a:srgbClr val="FFFFFF"/>
    <a:srgbClr val="1D2088"/>
    <a:srgbClr val="C00000"/>
    <a:srgbClr val="000000"/>
    <a:srgbClr val="0033A0"/>
    <a:srgbClr val="292D78"/>
    <a:srgbClr val="FF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2C8B7A3-D9C1-34E9-7174-FCCB636B617C}" v="1" dt="2024-11-01T03:05:15.38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445" autoAdjust="0"/>
  </p:normalViewPr>
  <p:slideViewPr>
    <p:cSldViewPr snapToGrid="0">
      <p:cViewPr varScale="1">
        <p:scale>
          <a:sx n="92" d="100"/>
          <a:sy n="92" d="100"/>
        </p:scale>
        <p:origin x="42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63129_高知高専" userId="S::d63129@kochi.kosen-ac.jp::5515d28f-dd27-4a4c-875b-e531cd2713b1" providerId="AD" clId="Web-{42C8B7A3-D9C1-34E9-7174-FCCB636B617C}"/>
    <pc:docChg chg="modSld">
      <pc:chgData name="d63129_高知高専" userId="S::d63129@kochi.kosen-ac.jp::5515d28f-dd27-4a4c-875b-e531cd2713b1" providerId="AD" clId="Web-{42C8B7A3-D9C1-34E9-7174-FCCB636B617C}" dt="2024-11-01T03:05:15.367" v="0" actId="1076"/>
      <pc:docMkLst>
        <pc:docMk/>
      </pc:docMkLst>
      <pc:sldChg chg="modSp">
        <pc:chgData name="d63129_高知高専" userId="S::d63129@kochi.kosen-ac.jp::5515d28f-dd27-4a4c-875b-e531cd2713b1" providerId="AD" clId="Web-{42C8B7A3-D9C1-34E9-7174-FCCB636B617C}" dt="2024-11-01T03:05:15.367" v="0" actId="1076"/>
        <pc:sldMkLst>
          <pc:docMk/>
          <pc:sldMk cId="1425077948" sldId="2147482080"/>
        </pc:sldMkLst>
        <pc:spChg chg="mod">
          <ac:chgData name="d63129_高知高専" userId="S::d63129@kochi.kosen-ac.jp::5515d28f-dd27-4a4c-875b-e531cd2713b1" providerId="AD" clId="Web-{42C8B7A3-D9C1-34E9-7174-FCCB636B617C}" dt="2024-11-01T03:05:15.367" v="0" actId="1076"/>
          <ac:spMkLst>
            <pc:docMk/>
            <pc:sldMk cId="1425077948" sldId="2147482080"/>
            <ac:spMk id="27" creationId="{9EA8F751-742A-329A-DA17-1F6C9C463D74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E4CDC7-BDA5-C24F-A309-CF696326A273}" type="datetimeFigureOut">
              <a:rPr kumimoji="1" lang="ja-JP" altLang="en-US" smtClean="0"/>
              <a:t>2024/10/31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1231EC-9B47-FC41-A7B9-C6FD5E11173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474593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1231EC-9B47-FC41-A7B9-C6FD5E111738}" type="slidenum">
              <a:rPr kumimoji="1" lang="ja-JP" altLang="en-US" smtClean="0"/>
              <a:t>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567210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8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FD6A5761-46BF-0849-BF12-E890673FBA72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719590" y="4433628"/>
            <a:ext cx="7803372" cy="25310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buNone/>
              <a:defRPr sz="1000" b="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ja-JP"/>
              <a:t>XX</a:t>
            </a:r>
            <a:r>
              <a:rPr lang="ja-JP" altLang="en-US"/>
              <a:t>年</a:t>
            </a:r>
            <a:r>
              <a:rPr lang="en-US" altLang="ja-JP"/>
              <a:t>XX</a:t>
            </a:r>
            <a:r>
              <a:rPr lang="ja-JP" altLang="en-US"/>
              <a:t>月</a:t>
            </a:r>
            <a:r>
              <a:rPr lang="en-US" altLang="ja-JP"/>
              <a:t>XX</a:t>
            </a:r>
            <a:r>
              <a:rPr lang="ja-JP" altLang="en-US"/>
              <a:t>日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F2DBE8B-F0F9-2A48-BD13-080EEF285F4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6915" y="3775817"/>
            <a:ext cx="7803372" cy="365125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800" b="1">
                <a:latin typeface="Hiragino Sans W4" panose="020B0400000000000000" pitchFamily="34" charset="-128"/>
                <a:ea typeface="Hiragino Sans W4" panose="020B0400000000000000" pitchFamily="34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サブタイトル</a:t>
            </a:r>
            <a:endParaRPr lang="en-US" altLang="ja-JP"/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A0892F18-3808-CE40-A3CB-5D0278FCD4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6976" y="3115416"/>
            <a:ext cx="7813311" cy="6604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400" b="1"/>
            </a:lvl1pPr>
          </a:lstStyle>
          <a:p>
            <a:r>
              <a:rPr lang="ja-JP" altLang="en-US"/>
              <a:t>メインタイトル</a:t>
            </a:r>
            <a:endParaRPr lang="en-US"/>
          </a:p>
        </p:txBody>
      </p:sp>
      <p:pic>
        <p:nvPicPr>
          <p:cNvPr id="5" name="図 4" descr="黒い背景に白い文字がある&#10;&#10;低い精度で自動的に生成された説明">
            <a:extLst>
              <a:ext uri="{FF2B5EF4-FFF2-40B4-BE49-F238E27FC236}">
                <a16:creationId xmlns:a16="http://schemas.microsoft.com/office/drawing/2014/main" id="{AA2D12B8-93C4-3F46-8475-E588DC55CC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44710" y="-248999"/>
            <a:ext cx="2999290" cy="299929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F8590346-09D3-1248-9AA0-703FD6859822}"/>
              </a:ext>
            </a:extLst>
          </p:cNvPr>
          <p:cNvSpPr/>
          <p:nvPr userDrawn="1"/>
        </p:nvSpPr>
        <p:spPr>
          <a:xfrm>
            <a:off x="5774103" y="4968875"/>
            <a:ext cx="2984015" cy="1731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ja-JP" altLang="en-US" sz="525"/>
              <a:t>Copyright © Samurai Incubate.inc All rights reserved. </a:t>
            </a:r>
            <a:endParaRPr lang="ja-JP" altLang="en-US" sz="750"/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148C63B7-282D-1840-9048-923B2CF8981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6875" y="5015438"/>
            <a:ext cx="1249837" cy="52076"/>
          </a:xfrm>
          <a:prstGeom prst="rect">
            <a:avLst/>
          </a:prstGeom>
        </p:spPr>
      </p:pic>
      <p:pic>
        <p:nvPicPr>
          <p:cNvPr id="9" name="図 8">
            <a:extLst>
              <a:ext uri="{FF2B5EF4-FFF2-40B4-BE49-F238E27FC236}">
                <a16:creationId xmlns:a16="http://schemas.microsoft.com/office/drawing/2014/main" id="{AF2A8F93-7C4F-A545-A1B1-D42CA67F6D6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6050" y="432419"/>
            <a:ext cx="8851900" cy="28575"/>
          </a:xfrm>
          <a:prstGeom prst="rect">
            <a:avLst/>
          </a:prstGeom>
        </p:spPr>
      </p:pic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5C64491C-B13D-FB4E-91D8-DFB0976DED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3364" y="4901651"/>
            <a:ext cx="369036" cy="273844"/>
          </a:xfrm>
          <a:prstGeom prst="rect">
            <a:avLst/>
          </a:prstGeom>
        </p:spPr>
        <p:txBody>
          <a:bodyPr/>
          <a:lstStyle/>
          <a:p>
            <a:fld id="{4C3E7FFA-7CC9-7749-8BE5-606DD00A2B0C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3201B03-5D7B-D34A-BBDB-D7E05E141C8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76589" y="187151"/>
            <a:ext cx="8721361" cy="2738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00">
                <a:latin typeface="Hiragino Sans W4" panose="020B0400000000000000" pitchFamily="34" charset="-128"/>
                <a:ea typeface="Hiragino Sans W4" panose="020B0400000000000000" pitchFamily="34" charset="-128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ja-JP" altLang="en-US"/>
              <a:t>タイトルタイトルタイトル（センター揃えも</a:t>
            </a:r>
            <a:r>
              <a:rPr lang="en-US" altLang="ja-JP"/>
              <a:t>OK</a:t>
            </a:r>
            <a:r>
              <a:rPr lang="ja-JP" altLang="en-US"/>
              <a:t>）</a:t>
            </a:r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90294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F8590346-09D3-1248-9AA0-703FD6859822}"/>
              </a:ext>
            </a:extLst>
          </p:cNvPr>
          <p:cNvSpPr/>
          <p:nvPr userDrawn="1"/>
        </p:nvSpPr>
        <p:spPr>
          <a:xfrm>
            <a:off x="5774103" y="4968875"/>
            <a:ext cx="2984015" cy="1731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ja-JP" altLang="en-US" sz="525"/>
              <a:t>Copyright © Samurai Incubate.inc All rights reserved. </a:t>
            </a:r>
            <a:endParaRPr lang="ja-JP" altLang="en-US" sz="750"/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148C63B7-282D-1840-9048-923B2CF8981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6875" y="5015438"/>
            <a:ext cx="1249837" cy="52076"/>
          </a:xfrm>
          <a:prstGeom prst="rect">
            <a:avLst/>
          </a:prstGeom>
        </p:spPr>
      </p:pic>
      <p:pic>
        <p:nvPicPr>
          <p:cNvPr id="9" name="図 8">
            <a:extLst>
              <a:ext uri="{FF2B5EF4-FFF2-40B4-BE49-F238E27FC236}">
                <a16:creationId xmlns:a16="http://schemas.microsoft.com/office/drawing/2014/main" id="{AF2A8F93-7C4F-A545-A1B1-D42CA67F6D6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6050" y="432419"/>
            <a:ext cx="8851900" cy="28575"/>
          </a:xfrm>
          <a:prstGeom prst="rect">
            <a:avLst/>
          </a:prstGeom>
        </p:spPr>
      </p:pic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5C64491C-B13D-FB4E-91D8-DFB0976DED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3364" y="4901651"/>
            <a:ext cx="369036" cy="273844"/>
          </a:xfrm>
          <a:prstGeom prst="rect">
            <a:avLst/>
          </a:prstGeom>
        </p:spPr>
        <p:txBody>
          <a:bodyPr/>
          <a:lstStyle/>
          <a:p>
            <a:fld id="{4C3E7FFA-7CC9-7749-8BE5-606DD00A2B0C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3201B03-5D7B-D34A-BBDB-D7E05E141C8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76589" y="187151"/>
            <a:ext cx="8721361" cy="2738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00">
                <a:latin typeface="Hiragino Sans W4" panose="020B0400000000000000" pitchFamily="34" charset="-128"/>
                <a:ea typeface="Hiragino Sans W4" panose="020B0400000000000000" pitchFamily="34" charset="-128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ja-JP" altLang="en-US"/>
              <a:t>タイトルタイトルタイトル（センター揃えも</a:t>
            </a:r>
            <a:r>
              <a:rPr lang="en-US" altLang="ja-JP"/>
              <a:t>OK</a:t>
            </a:r>
            <a:r>
              <a:rPr lang="ja-JP" altLang="en-US"/>
              <a:t>）</a:t>
            </a:r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237295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F8590346-09D3-1248-9AA0-703FD6859822}"/>
              </a:ext>
            </a:extLst>
          </p:cNvPr>
          <p:cNvSpPr/>
          <p:nvPr userDrawn="1"/>
        </p:nvSpPr>
        <p:spPr>
          <a:xfrm>
            <a:off x="5774103" y="4968875"/>
            <a:ext cx="2984015" cy="1731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ja-JP" altLang="en-US" sz="525"/>
              <a:t>Copyright © Samurai Incubate.inc All rights reserved. </a:t>
            </a:r>
            <a:endParaRPr lang="ja-JP" altLang="en-US" sz="750"/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148C63B7-282D-1840-9048-923B2CF8981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6875" y="5015438"/>
            <a:ext cx="1249837" cy="52076"/>
          </a:xfrm>
          <a:prstGeom prst="rect">
            <a:avLst/>
          </a:prstGeom>
        </p:spPr>
      </p:pic>
      <p:pic>
        <p:nvPicPr>
          <p:cNvPr id="9" name="図 8">
            <a:extLst>
              <a:ext uri="{FF2B5EF4-FFF2-40B4-BE49-F238E27FC236}">
                <a16:creationId xmlns:a16="http://schemas.microsoft.com/office/drawing/2014/main" id="{AF2A8F93-7C4F-A545-A1B1-D42CA67F6D6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6050" y="432419"/>
            <a:ext cx="8851900" cy="28575"/>
          </a:xfrm>
          <a:prstGeom prst="rect">
            <a:avLst/>
          </a:prstGeom>
        </p:spPr>
      </p:pic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5C64491C-B13D-FB4E-91D8-DFB0976DED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3364" y="4901651"/>
            <a:ext cx="369036" cy="273844"/>
          </a:xfrm>
          <a:prstGeom prst="rect">
            <a:avLst/>
          </a:prstGeom>
        </p:spPr>
        <p:txBody>
          <a:bodyPr/>
          <a:lstStyle/>
          <a:p>
            <a:fld id="{4C3E7FFA-7CC9-7749-8BE5-606DD00A2B0C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3201B03-5D7B-D34A-BBDB-D7E05E141C8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76589" y="187151"/>
            <a:ext cx="8721361" cy="2738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00">
                <a:latin typeface="Hiragino Sans W4" panose="020B0400000000000000" pitchFamily="34" charset="-128"/>
                <a:ea typeface="Hiragino Sans W4" panose="020B0400000000000000" pitchFamily="34" charset="-128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ja-JP" altLang="en-US"/>
              <a:t>タイトルタイトルタイトル（センター揃えも</a:t>
            </a:r>
            <a:r>
              <a:rPr lang="en-US" altLang="ja-JP"/>
              <a:t>OK</a:t>
            </a:r>
            <a:r>
              <a:rPr lang="ja-JP" altLang="en-US"/>
              <a:t>）</a:t>
            </a:r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477233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>
            <a:extLst>
              <a:ext uri="{FF2B5EF4-FFF2-40B4-BE49-F238E27FC236}">
                <a16:creationId xmlns:a16="http://schemas.microsoft.com/office/drawing/2014/main" id="{AF2A8F93-7C4F-A545-A1B1-D42CA67F6D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6051" y="432419"/>
            <a:ext cx="8851900" cy="28575"/>
          </a:xfrm>
          <a:prstGeom prst="rect">
            <a:avLst/>
          </a:prstGeom>
        </p:spPr>
      </p:pic>
      <p:sp>
        <p:nvSpPr>
          <p:cNvPr id="12" name="Subtitle 2">
            <a:extLst>
              <a:ext uri="{FF2B5EF4-FFF2-40B4-BE49-F238E27FC236}">
                <a16:creationId xmlns:a16="http://schemas.microsoft.com/office/drawing/2014/main" id="{63201B03-5D7B-D34A-BBDB-D7E05E141C8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4177" y="152484"/>
            <a:ext cx="8863774" cy="273844"/>
          </a:xfrm>
        </p:spPr>
        <p:txBody>
          <a:bodyPr>
            <a:noAutofit/>
          </a:bodyPr>
          <a:lstStyle>
            <a:lvl1pPr marL="0" indent="0" algn="l">
              <a:buNone/>
              <a:defRPr sz="1500">
                <a:latin typeface="Hiragino Sans W4" panose="020B0400000000000000" pitchFamily="34" charset="-128"/>
                <a:ea typeface="Hiragino Sans W4" panose="020B0400000000000000" pitchFamily="34" charset="-128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ja-JP" altLang="en-US"/>
              <a:t>タイトルタイトルタイトル（センター揃えも</a:t>
            </a:r>
            <a:r>
              <a:rPr lang="en-US" altLang="ja-JP"/>
              <a:t>OK</a:t>
            </a:r>
            <a:r>
              <a:rPr lang="ja-JP" altLang="en-US"/>
              <a:t>）</a:t>
            </a:r>
            <a:endParaRPr lang="en-US" altLang="ja-JP"/>
          </a:p>
        </p:txBody>
      </p:sp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FBDEFC0B-C8B9-EF48-8F91-6CF6040E9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47316" y="4901652"/>
            <a:ext cx="540571" cy="273844"/>
          </a:xfrm>
          <a:prstGeom prst="rect">
            <a:avLst/>
          </a:prstGeom>
        </p:spPr>
        <p:txBody>
          <a:bodyPr/>
          <a:lstStyle/>
          <a:p>
            <a:fld id="{4C3E7FFA-7CC9-7749-8BE5-606DD00A2B0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524980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/>
          <p:cNvSpPr/>
          <p:nvPr userDrawn="1"/>
        </p:nvSpPr>
        <p:spPr>
          <a:xfrm>
            <a:off x="0" y="4930411"/>
            <a:ext cx="9144000" cy="216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342900"/>
            <a:endParaRPr kumimoji="1" lang="ja-JP" altLang="en-US" sz="1350"/>
          </a:p>
        </p:txBody>
      </p:sp>
      <p:sp>
        <p:nvSpPr>
          <p:cNvPr id="4" name="スライド番号プレースホルダー 5"/>
          <p:cNvSpPr txBox="1">
            <a:spLocks/>
          </p:cNvSpPr>
          <p:nvPr userDrawn="1"/>
        </p:nvSpPr>
        <p:spPr>
          <a:xfrm>
            <a:off x="6963180" y="4891222"/>
            <a:ext cx="21336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D9A5D1-EA99-8F4F-917B-C1D9045AD1B5}" type="slidenum">
              <a:rPr kumimoji="1" lang="ja-JP" altLang="en-US" sz="825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メイリオ" pitchFamily="50" charset="-128"/>
              </a:rPr>
              <a:pPr marL="0" marR="0" lvl="0" indent="0" algn="r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825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メイリオ" pitchFamily="50" charset="-128"/>
            </a:endParaRPr>
          </a:p>
        </p:txBody>
      </p:sp>
      <p:sp>
        <p:nvSpPr>
          <p:cNvPr id="2" name="テキスト ボックス 1"/>
          <p:cNvSpPr txBox="1"/>
          <p:nvPr userDrawn="1"/>
        </p:nvSpPr>
        <p:spPr>
          <a:xfrm>
            <a:off x="15740" y="4936695"/>
            <a:ext cx="712037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825" b="0">
                <a:solidFill>
                  <a:schemeClr val="bg1"/>
                </a:solidFill>
              </a:rPr>
              <a:t>Copyright © Samurai Incubate Inc. All rights reserved.</a:t>
            </a:r>
            <a:endParaRPr kumimoji="1" lang="ja-JP" altLang="en-US" sz="825" b="0">
              <a:solidFill>
                <a:schemeClr val="bg1"/>
              </a:solidFill>
            </a:endParaRPr>
          </a:p>
        </p:txBody>
      </p:sp>
      <p:sp>
        <p:nvSpPr>
          <p:cNvPr id="15" name="タイトル 14"/>
          <p:cNvSpPr>
            <a:spLocks noGrp="1"/>
          </p:cNvSpPr>
          <p:nvPr>
            <p:ph type="title"/>
          </p:nvPr>
        </p:nvSpPr>
        <p:spPr>
          <a:xfrm>
            <a:off x="436104" y="249078"/>
            <a:ext cx="8424000" cy="343620"/>
          </a:xfrm>
          <a:noFill/>
        </p:spPr>
        <p:txBody>
          <a:bodyPr wrap="square" rtlCol="0">
            <a:spAutoFit/>
          </a:bodyPr>
          <a:lstStyle>
            <a:lvl1pPr algn="l">
              <a:defRPr lang="ja-JP" altLang="en-US" sz="1800" b="1" dirty="0">
                <a:solidFill>
                  <a:srgbClr val="154254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游ゴシック" panose="020B0400000000000000" pitchFamily="50" charset="-128"/>
              </a:defRPr>
            </a:lvl1pPr>
          </a:lstStyle>
          <a:p>
            <a:pPr marL="0" lvl="0" algn="l"/>
            <a:endParaRPr kumimoji="1" lang="ja-JP" altLang="en-US"/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2F66EF20-2251-E647-A30F-077978DB9E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6846" y="247764"/>
            <a:ext cx="804805" cy="362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5906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/>
          <p:cNvSpPr/>
          <p:nvPr userDrawn="1"/>
        </p:nvSpPr>
        <p:spPr>
          <a:xfrm>
            <a:off x="0" y="4930411"/>
            <a:ext cx="9144000" cy="216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342900"/>
            <a:endParaRPr kumimoji="1" lang="ja-JP" altLang="en-US" sz="1350"/>
          </a:p>
        </p:txBody>
      </p:sp>
      <p:sp>
        <p:nvSpPr>
          <p:cNvPr id="4" name="スライド番号プレースホルダー 5"/>
          <p:cNvSpPr txBox="1">
            <a:spLocks/>
          </p:cNvSpPr>
          <p:nvPr userDrawn="1"/>
        </p:nvSpPr>
        <p:spPr>
          <a:xfrm>
            <a:off x="6963180" y="4891222"/>
            <a:ext cx="21336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D9A5D1-EA99-8F4F-917B-C1D9045AD1B5}" type="slidenum">
              <a:rPr kumimoji="1" lang="ja-JP" altLang="en-US" sz="825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メイリオ" pitchFamily="50" charset="-128"/>
              </a:rPr>
              <a:pPr marL="0" marR="0" lvl="0" indent="0" algn="r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825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メイリオ" pitchFamily="50" charset="-128"/>
            </a:endParaRPr>
          </a:p>
        </p:txBody>
      </p:sp>
      <p:sp>
        <p:nvSpPr>
          <p:cNvPr id="2" name="テキスト ボックス 1"/>
          <p:cNvSpPr txBox="1"/>
          <p:nvPr userDrawn="1"/>
        </p:nvSpPr>
        <p:spPr>
          <a:xfrm>
            <a:off x="15740" y="4936695"/>
            <a:ext cx="712037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825" b="0">
                <a:solidFill>
                  <a:schemeClr val="bg1"/>
                </a:solidFill>
              </a:rPr>
              <a:t>Copyright © Samurai Incubate Inc. All rights reserved.</a:t>
            </a:r>
            <a:endParaRPr kumimoji="1" lang="ja-JP" altLang="en-US" sz="825" b="0">
              <a:solidFill>
                <a:schemeClr val="bg1"/>
              </a:solidFill>
            </a:endParaRPr>
          </a:p>
        </p:txBody>
      </p:sp>
      <p:sp>
        <p:nvSpPr>
          <p:cNvPr id="15" name="タイトル 14"/>
          <p:cNvSpPr>
            <a:spLocks noGrp="1"/>
          </p:cNvSpPr>
          <p:nvPr>
            <p:ph type="title"/>
          </p:nvPr>
        </p:nvSpPr>
        <p:spPr>
          <a:xfrm>
            <a:off x="436104" y="249078"/>
            <a:ext cx="8424000" cy="343620"/>
          </a:xfrm>
          <a:noFill/>
        </p:spPr>
        <p:txBody>
          <a:bodyPr wrap="square" rtlCol="0">
            <a:spAutoFit/>
          </a:bodyPr>
          <a:lstStyle>
            <a:lvl1pPr algn="l">
              <a:defRPr lang="ja-JP" altLang="en-US" sz="1800" b="1" dirty="0">
                <a:solidFill>
                  <a:srgbClr val="154254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游ゴシック" panose="020B0400000000000000" pitchFamily="50" charset="-128"/>
              </a:defRPr>
            </a:lvl1pPr>
          </a:lstStyle>
          <a:p>
            <a:pPr marL="0" lvl="0" algn="l"/>
            <a:endParaRPr kumimoji="1" lang="ja-JP" altLang="en-US"/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2F66EF20-2251-E647-A30F-077978DB9E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6846" y="247764"/>
            <a:ext cx="804805" cy="362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6117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/>
          <p:cNvSpPr/>
          <p:nvPr userDrawn="1"/>
        </p:nvSpPr>
        <p:spPr>
          <a:xfrm>
            <a:off x="0" y="4930411"/>
            <a:ext cx="9144000" cy="216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342900"/>
            <a:endParaRPr kumimoji="1" lang="ja-JP" altLang="en-US" sz="1350"/>
          </a:p>
        </p:txBody>
      </p:sp>
      <p:sp>
        <p:nvSpPr>
          <p:cNvPr id="4" name="スライド番号プレースホルダー 5"/>
          <p:cNvSpPr txBox="1">
            <a:spLocks/>
          </p:cNvSpPr>
          <p:nvPr userDrawn="1"/>
        </p:nvSpPr>
        <p:spPr>
          <a:xfrm>
            <a:off x="6963180" y="4891222"/>
            <a:ext cx="21336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D9A5D1-EA99-8F4F-917B-C1D9045AD1B5}" type="slidenum">
              <a:rPr kumimoji="1" lang="ja-JP" altLang="en-US" sz="825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cs typeface="メイリオ" pitchFamily="50" charset="-128"/>
              </a:rPr>
              <a:pPr marL="0" marR="0" lvl="0" indent="0" algn="r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825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cs typeface="メイリオ" pitchFamily="50" charset="-128"/>
            </a:endParaRPr>
          </a:p>
        </p:txBody>
      </p:sp>
      <p:sp>
        <p:nvSpPr>
          <p:cNvPr id="2" name="テキスト ボックス 1"/>
          <p:cNvSpPr txBox="1"/>
          <p:nvPr userDrawn="1"/>
        </p:nvSpPr>
        <p:spPr>
          <a:xfrm>
            <a:off x="15740" y="4936695"/>
            <a:ext cx="712037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825" b="0">
                <a:solidFill>
                  <a:schemeClr val="bg1"/>
                </a:solidFill>
              </a:rPr>
              <a:t>Copyright © Samurai Incubate Inc. All rights reserved.</a:t>
            </a:r>
            <a:endParaRPr kumimoji="1" lang="ja-JP" altLang="en-US" sz="825" b="0">
              <a:solidFill>
                <a:schemeClr val="bg1"/>
              </a:solidFill>
            </a:endParaRPr>
          </a:p>
        </p:txBody>
      </p:sp>
      <p:sp>
        <p:nvSpPr>
          <p:cNvPr id="15" name="タイトル 14"/>
          <p:cNvSpPr>
            <a:spLocks noGrp="1"/>
          </p:cNvSpPr>
          <p:nvPr>
            <p:ph type="title"/>
          </p:nvPr>
        </p:nvSpPr>
        <p:spPr>
          <a:xfrm>
            <a:off x="436104" y="249078"/>
            <a:ext cx="8424000" cy="343620"/>
          </a:xfrm>
          <a:noFill/>
        </p:spPr>
        <p:txBody>
          <a:bodyPr wrap="square" rtlCol="0">
            <a:spAutoFit/>
          </a:bodyPr>
          <a:lstStyle>
            <a:lvl1pPr algn="l">
              <a:defRPr lang="ja-JP" altLang="en-US" sz="1800" b="1" dirty="0">
                <a:solidFill>
                  <a:srgbClr val="154254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游ゴシック" panose="020B0400000000000000" pitchFamily="50" charset="-128"/>
              </a:defRPr>
            </a:lvl1pPr>
          </a:lstStyle>
          <a:p>
            <a:pPr marL="0" lvl="0" algn="l"/>
            <a:endParaRPr kumimoji="1" lang="ja-JP" altLang="en-US"/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2F66EF20-2251-E647-A30F-077978DB9E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6846" y="247764"/>
            <a:ext cx="804805" cy="362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63227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F8590346-09D3-1248-9AA0-703FD6859822}"/>
              </a:ext>
            </a:extLst>
          </p:cNvPr>
          <p:cNvSpPr/>
          <p:nvPr userDrawn="1"/>
        </p:nvSpPr>
        <p:spPr>
          <a:xfrm>
            <a:off x="5774103" y="4968875"/>
            <a:ext cx="2984015" cy="1731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ja-JP" altLang="en-US" sz="525"/>
              <a:t>Copyright © Samurai Incubate.inc All rights reserved. </a:t>
            </a:r>
            <a:endParaRPr lang="ja-JP" altLang="en-US" sz="750"/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148C63B7-282D-1840-9048-923B2CF8981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6875" y="5015438"/>
            <a:ext cx="1249837" cy="52076"/>
          </a:xfrm>
          <a:prstGeom prst="rect">
            <a:avLst/>
          </a:prstGeom>
        </p:spPr>
      </p:pic>
      <p:pic>
        <p:nvPicPr>
          <p:cNvPr id="9" name="図 8">
            <a:extLst>
              <a:ext uri="{FF2B5EF4-FFF2-40B4-BE49-F238E27FC236}">
                <a16:creationId xmlns:a16="http://schemas.microsoft.com/office/drawing/2014/main" id="{AF2A8F93-7C4F-A545-A1B1-D42CA67F6D6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6050" y="432419"/>
            <a:ext cx="8851900" cy="28575"/>
          </a:xfrm>
          <a:prstGeom prst="rect">
            <a:avLst/>
          </a:prstGeom>
        </p:spPr>
      </p:pic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5C64491C-B13D-FB4E-91D8-DFB0976DED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3364" y="4901651"/>
            <a:ext cx="369036" cy="273844"/>
          </a:xfrm>
          <a:prstGeom prst="rect">
            <a:avLst/>
          </a:prstGeom>
        </p:spPr>
        <p:txBody>
          <a:bodyPr/>
          <a:lstStyle/>
          <a:p>
            <a:fld id="{4C3E7FFA-7CC9-7749-8BE5-606DD00A2B0C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3201B03-5D7B-D34A-BBDB-D7E05E141C8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76589" y="187151"/>
            <a:ext cx="8721361" cy="2738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00">
                <a:latin typeface="Hiragino Sans W4" panose="020B0400000000000000" pitchFamily="34" charset="-128"/>
                <a:ea typeface="Hiragino Sans W4" panose="020B0400000000000000" pitchFamily="34" charset="-128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ja-JP" altLang="en-US"/>
              <a:t>タイトルタイトルタイトル（センター揃えも</a:t>
            </a:r>
            <a:r>
              <a:rPr lang="en-US" altLang="ja-JP"/>
              <a:t>OK</a:t>
            </a:r>
            <a:r>
              <a:rPr lang="ja-JP" altLang="en-US"/>
              <a:t>）</a:t>
            </a:r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48279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66860D10-06E9-4423-BB33-CCBFAEA341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467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66860D10-06E9-4423-BB33-CCBFAEA341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67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>
          <a:xfrm>
            <a:off x="6831943" y="4894009"/>
            <a:ext cx="2133600" cy="273844"/>
          </a:xfrm>
        </p:spPr>
        <p:txBody>
          <a:bodyPr/>
          <a:lstStyle>
            <a:lvl1pPr>
              <a:defRPr sz="1108">
                <a:latin typeface="HGSｺﾞｼｯｸM" panose="020B0600000000000000" pitchFamily="50" charset="-128"/>
                <a:ea typeface="HGSｺﾞｼｯｸM" panose="020B0600000000000000" pitchFamily="50" charset="-128"/>
              </a:defRPr>
            </a:lvl1pPr>
          </a:lstStyle>
          <a:p>
            <a:pPr>
              <a:defRPr/>
            </a:pPr>
            <a:fld id="{15F3BCB8-6AFF-4030-B0F6-2944F08F86BE}" type="slidenum">
              <a:rPr lang="ja-JP" altLang="en-US" smtClean="0"/>
              <a:pPr>
                <a:defRPr/>
              </a:pPr>
              <a:t>‹#›</a:t>
            </a:fld>
            <a:endParaRPr lang="ja-JP" altLang="en-US"/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232616" y="357504"/>
            <a:ext cx="8673231" cy="1191"/>
          </a:xfrm>
          <a:prstGeom prst="line">
            <a:avLst/>
          </a:prstGeom>
          <a:ln w="2222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57842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69429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FD6A5761-46BF-0849-BF12-E890673FBA72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719590" y="4433628"/>
            <a:ext cx="7803372" cy="25310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buNone/>
              <a:defRPr sz="1000" b="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ja-JP"/>
              <a:t>XX</a:t>
            </a:r>
            <a:r>
              <a:rPr lang="ja-JP" altLang="en-US"/>
              <a:t>年</a:t>
            </a:r>
            <a:r>
              <a:rPr lang="en-US" altLang="ja-JP"/>
              <a:t>XX</a:t>
            </a:r>
            <a:r>
              <a:rPr lang="ja-JP" altLang="en-US"/>
              <a:t>月</a:t>
            </a:r>
            <a:r>
              <a:rPr lang="en-US" altLang="ja-JP"/>
              <a:t>XX</a:t>
            </a:r>
            <a:r>
              <a:rPr lang="ja-JP" altLang="en-US"/>
              <a:t>日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F2DBE8B-F0F9-2A48-BD13-080EEF285F4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6915" y="3775817"/>
            <a:ext cx="7803372" cy="365125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800" b="1">
                <a:latin typeface="Hiragino Sans W4" panose="020B0400000000000000" pitchFamily="34" charset="-128"/>
                <a:ea typeface="Hiragino Sans W4" panose="020B0400000000000000" pitchFamily="34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サブタイトル</a:t>
            </a:r>
            <a:endParaRPr lang="en-US" altLang="ja-JP"/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A0892F18-3808-CE40-A3CB-5D0278FCD4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6976" y="3115416"/>
            <a:ext cx="7813311" cy="6604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400" b="1"/>
            </a:lvl1pPr>
          </a:lstStyle>
          <a:p>
            <a:r>
              <a:rPr lang="ja-JP" altLang="en-US"/>
              <a:t>メインタイトル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82902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標準（スペース大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26"/>
          <p:cNvSpPr>
            <a:spLocks noChangeShapeType="1"/>
          </p:cNvSpPr>
          <p:nvPr/>
        </p:nvSpPr>
        <p:spPr bwMode="auto">
          <a:xfrm>
            <a:off x="185051" y="735546"/>
            <a:ext cx="8774310" cy="0"/>
          </a:xfrm>
          <a:prstGeom prst="line">
            <a:avLst/>
          </a:prstGeom>
          <a:noFill/>
          <a:ln w="3175">
            <a:solidFill>
              <a:srgbClr val="636363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ja-JP" altLang="en-US" sz="1350" b="1">
              <a:solidFill>
                <a:prstClr val="black"/>
              </a:solidFill>
              <a:latin typeface="+mj-ea"/>
              <a:ea typeface="+mj-ea"/>
            </a:endParaRPr>
          </a:p>
        </p:txBody>
      </p:sp>
      <p:sp>
        <p:nvSpPr>
          <p:cNvPr id="9" name="テキスト ボックス 8"/>
          <p:cNvSpPr txBox="1"/>
          <p:nvPr/>
        </p:nvSpPr>
        <p:spPr>
          <a:xfrm>
            <a:off x="8227791" y="4935751"/>
            <a:ext cx="664689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DD9FF53-5E75-4890-BA22-699EFFF134BB}" type="slidenum">
              <a:rPr lang="ja-JP" altLang="en-US" sz="900">
                <a:solidFill>
                  <a:prstClr val="black"/>
                </a:solidFill>
              </a:rPr>
              <a:pPr algn="r"/>
              <a:t>‹#›</a:t>
            </a:fld>
            <a:endParaRPr lang="ja-JP" altLang="en-US" sz="900">
              <a:solidFill>
                <a:prstClr val="black"/>
              </a:solidFill>
            </a:endParaRPr>
          </a:p>
        </p:txBody>
      </p:sp>
      <p:sp>
        <p:nvSpPr>
          <p:cNvPr id="21" name="テキスト プレースホルダ 20"/>
          <p:cNvSpPr>
            <a:spLocks noGrp="1"/>
          </p:cNvSpPr>
          <p:nvPr>
            <p:ph type="body" sz="quarter" idx="14" hasCustomPrompt="1"/>
          </p:nvPr>
        </p:nvSpPr>
        <p:spPr>
          <a:xfrm>
            <a:off x="184348" y="843558"/>
            <a:ext cx="8774723" cy="1144929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200">
                <a:latin typeface="+mn-ea"/>
                <a:ea typeface="+mn-ea"/>
              </a:defRPr>
            </a:lvl1pPr>
            <a:lvl2pPr>
              <a:defRPr sz="1050">
                <a:latin typeface="+mn-ea"/>
                <a:ea typeface="+mn-ea"/>
              </a:defRPr>
            </a:lvl2pPr>
            <a:lvl3pPr>
              <a:defRPr sz="1050">
                <a:latin typeface="+mn-ea"/>
                <a:ea typeface="+mn-ea"/>
              </a:defRPr>
            </a:lvl3pPr>
            <a:lvl4pPr>
              <a:defRPr sz="900">
                <a:latin typeface="+mn-ea"/>
                <a:ea typeface="+mn-ea"/>
              </a:defRPr>
            </a:lvl4pPr>
            <a:lvl5pPr>
              <a:defRPr sz="900">
                <a:latin typeface="+mn-ea"/>
                <a:ea typeface="+mn-ea"/>
              </a:defRPr>
            </a:lvl5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4"/>
            <a:endParaRPr kumimoji="1" lang="ja-JP" altLang="en-US"/>
          </a:p>
        </p:txBody>
      </p:sp>
      <p:sp>
        <p:nvSpPr>
          <p:cNvPr id="11" name="タイトル 7"/>
          <p:cNvSpPr>
            <a:spLocks noGrp="1"/>
          </p:cNvSpPr>
          <p:nvPr>
            <p:ph type="title"/>
          </p:nvPr>
        </p:nvSpPr>
        <p:spPr>
          <a:xfrm>
            <a:off x="185403" y="114834"/>
            <a:ext cx="8773897" cy="27003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 b="1">
                <a:latin typeface="+mj-ea"/>
                <a:ea typeface="+mj-ea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12" name="テキスト プレースホルダー 12"/>
          <p:cNvSpPr>
            <a:spLocks noGrp="1"/>
          </p:cNvSpPr>
          <p:nvPr>
            <p:ph type="body" sz="quarter" idx="15"/>
          </p:nvPr>
        </p:nvSpPr>
        <p:spPr>
          <a:xfrm>
            <a:off x="184639" y="408460"/>
            <a:ext cx="8774723" cy="300083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500" b="1">
                <a:latin typeface="+mj-ea"/>
                <a:ea typeface="+mj-ea"/>
              </a:defRPr>
            </a:lvl1pPr>
            <a:lvl2pPr marL="283369" indent="0">
              <a:spcBef>
                <a:spcPts val="0"/>
              </a:spcBef>
              <a:buNone/>
              <a:defRPr sz="1500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2pPr>
            <a:lvl3pPr marL="566738" indent="0">
              <a:spcBef>
                <a:spcPts val="0"/>
              </a:spcBef>
              <a:buNone/>
              <a:defRPr sz="1500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3pPr>
            <a:lvl4pPr marL="857250" indent="0">
              <a:spcBef>
                <a:spcPts val="0"/>
              </a:spcBef>
              <a:buNone/>
              <a:defRPr sz="1500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4pPr>
            <a:lvl5pPr marL="1144190" indent="0">
              <a:spcBef>
                <a:spcPts val="0"/>
              </a:spcBef>
              <a:buNone/>
              <a:defRPr sz="1500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7" name="Line 26">
            <a:extLst>
              <a:ext uri="{FF2B5EF4-FFF2-40B4-BE49-F238E27FC236}">
                <a16:creationId xmlns:a16="http://schemas.microsoft.com/office/drawing/2014/main" id="{ACD72686-65EA-2AFA-C212-14CC17236DB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85051" y="735546"/>
            <a:ext cx="8774310" cy="0"/>
          </a:xfrm>
          <a:prstGeom prst="line">
            <a:avLst/>
          </a:prstGeom>
          <a:noFill/>
          <a:ln w="3175">
            <a:solidFill>
              <a:srgbClr val="636363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ja-JP" altLang="en-US" sz="1350" b="1">
              <a:solidFill>
                <a:prstClr val="black"/>
              </a:solidFill>
              <a:latin typeface="+mj-ea"/>
              <a:ea typeface="+mj-ea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1DE250ED-2F33-F860-38EC-42C2BD3706D4}"/>
              </a:ext>
            </a:extLst>
          </p:cNvPr>
          <p:cNvSpPr txBox="1"/>
          <p:nvPr userDrawn="1"/>
        </p:nvSpPr>
        <p:spPr>
          <a:xfrm>
            <a:off x="8227791" y="4935751"/>
            <a:ext cx="664689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DD9FF53-5E75-4890-BA22-699EFFF134BB}" type="slidenum">
              <a:rPr lang="ja-JP" altLang="en-US" sz="900">
                <a:solidFill>
                  <a:prstClr val="black"/>
                </a:solidFill>
              </a:rPr>
              <a:pPr algn="r"/>
              <a:t>‹#›</a:t>
            </a:fld>
            <a:endParaRPr lang="ja-JP" altLang="en-US" sz="9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75225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>
            <a:extLst>
              <a:ext uri="{FF2B5EF4-FFF2-40B4-BE49-F238E27FC236}">
                <a16:creationId xmlns:a16="http://schemas.microsoft.com/office/drawing/2014/main" id="{658EE0C3-5FA9-3448-9368-16EB37E3FCD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00234" y="2429054"/>
            <a:ext cx="7850707" cy="365125"/>
          </a:xfrm>
        </p:spPr>
        <p:txBody>
          <a:bodyPr>
            <a:noAutofit/>
          </a:bodyPr>
          <a:lstStyle>
            <a:lvl1pPr marL="342900" indent="-342900" algn="l">
              <a:spcBef>
                <a:spcPts val="1000"/>
              </a:spcBef>
              <a:buFont typeface="+mj-lt"/>
              <a:buAutoNum type="arabicPeriod"/>
              <a:defRPr sz="1800">
                <a:latin typeface="Hiragino Sans W4" panose="020B0400000000000000" pitchFamily="34" charset="-128"/>
                <a:ea typeface="Hiragino Sans W4" panose="020B0400000000000000" pitchFamily="34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US" altLang="ja-JP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F8D25D6-8CEA-0E4E-9E38-58C81E940E44}"/>
              </a:ext>
            </a:extLst>
          </p:cNvPr>
          <p:cNvSpPr txBox="1">
            <a:spLocks/>
          </p:cNvSpPr>
          <p:nvPr userDrawn="1"/>
        </p:nvSpPr>
        <p:spPr>
          <a:xfrm>
            <a:off x="777747" y="1768653"/>
            <a:ext cx="6694158" cy="66040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800" b="1" kern="1200">
                <a:solidFill>
                  <a:schemeClr val="tx1"/>
                </a:solidFill>
                <a:latin typeface="Hiragino Sans W4" panose="020B0400000000000000" pitchFamily="34" charset="-128"/>
                <a:ea typeface="Hiragino Sans W4" panose="020B0400000000000000" pitchFamily="34" charset="-128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b="1" kern="1200">
                <a:solidFill>
                  <a:schemeClr val="tx1"/>
                </a:solidFill>
                <a:latin typeface="Hiragino Sans W4" panose="020B0400000000000000" pitchFamily="34" charset="-128"/>
                <a:ea typeface="Hiragino Sans W4" panose="020B0400000000000000" pitchFamily="34" charset="-128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b="1" kern="1200">
                <a:solidFill>
                  <a:schemeClr val="tx1"/>
                </a:solidFill>
                <a:latin typeface="Hiragino Sans W4" panose="020B0400000000000000" pitchFamily="34" charset="-128"/>
                <a:ea typeface="Hiragino Sans W4" panose="020B0400000000000000" pitchFamily="34" charset="-128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b="1" kern="1200">
                <a:solidFill>
                  <a:schemeClr val="tx1"/>
                </a:solidFill>
                <a:latin typeface="Hiragino Sans W4" panose="020B0400000000000000" pitchFamily="34" charset="-128"/>
                <a:ea typeface="Hiragino Sans W4" panose="020B0400000000000000" pitchFamily="34" charset="-128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b="1" kern="1200">
                <a:solidFill>
                  <a:schemeClr val="tx1"/>
                </a:solidFill>
                <a:latin typeface="Hiragino Sans W4" panose="020B0400000000000000" pitchFamily="34" charset="-128"/>
                <a:ea typeface="Hiragino Sans W4" panose="020B0400000000000000" pitchFamily="34" charset="-128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800" b="1" i="1" u="sng"/>
              <a:t>Agenda</a:t>
            </a:r>
            <a:endParaRPr lang="en-US" sz="1800" b="1" i="1" u="sng"/>
          </a:p>
        </p:txBody>
      </p:sp>
      <p:pic>
        <p:nvPicPr>
          <p:cNvPr id="7" name="図 6" descr="黒い背景に白い文字がある&#10;&#10;低い精度で自動的に生成された説明">
            <a:extLst>
              <a:ext uri="{FF2B5EF4-FFF2-40B4-BE49-F238E27FC236}">
                <a16:creationId xmlns:a16="http://schemas.microsoft.com/office/drawing/2014/main" id="{456DDFB3-584B-9E4F-8594-825F25F9B8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0266" y="82890"/>
            <a:ext cx="2203469" cy="2203469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5501921B-F193-B349-A4EC-50D73DB187F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44600" y="2208624"/>
            <a:ext cx="6654800" cy="774700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105032D5-E7CC-3C43-B9C2-129B685F6F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06378" y="2423840"/>
            <a:ext cx="6293022" cy="365125"/>
          </a:xfrm>
        </p:spPr>
        <p:txBody>
          <a:bodyPr>
            <a:noAutofit/>
          </a:bodyPr>
          <a:lstStyle>
            <a:lvl1pPr marL="0" indent="0" algn="l">
              <a:buFont typeface="Wingdings" pitchFamily="2" charset="2"/>
              <a:buNone/>
              <a:defRPr sz="2000">
                <a:latin typeface="Hiragino Sans W4" panose="020B0400000000000000" pitchFamily="34" charset="-128"/>
                <a:ea typeface="Hiragino Sans W4" panose="020B0400000000000000" pitchFamily="34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タイトルタイトルタイトル</a:t>
            </a:r>
            <a:endParaRPr lang="en-US" altLang="ja-JP"/>
          </a:p>
        </p:txBody>
      </p:sp>
      <p:pic>
        <p:nvPicPr>
          <p:cNvPr id="7" name="図 6" descr="黒い背景に白い文字がある&#10;&#10;低い精度で自動的に生成された説明">
            <a:extLst>
              <a:ext uri="{FF2B5EF4-FFF2-40B4-BE49-F238E27FC236}">
                <a16:creationId xmlns:a16="http://schemas.microsoft.com/office/drawing/2014/main" id="{CB2C0F00-1386-B146-A87F-0B163A5B842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470266" y="82890"/>
            <a:ext cx="2203469" cy="2203469"/>
          </a:xfrm>
          <a:prstGeom prst="rect">
            <a:avLst/>
          </a:prstGeom>
        </p:spPr>
      </p:pic>
      <p:sp>
        <p:nvSpPr>
          <p:cNvPr id="16" name="タイトル 15">
            <a:extLst>
              <a:ext uri="{FF2B5EF4-FFF2-40B4-BE49-F238E27FC236}">
                <a16:creationId xmlns:a16="http://schemas.microsoft.com/office/drawing/2014/main" id="{4BFC9D1D-1478-0A4B-A54E-0E1D5DCB7D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4600" y="2423840"/>
            <a:ext cx="485346" cy="365125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72122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F8590346-09D3-1248-9AA0-703FD6859822}"/>
              </a:ext>
            </a:extLst>
          </p:cNvPr>
          <p:cNvSpPr/>
          <p:nvPr userDrawn="1"/>
        </p:nvSpPr>
        <p:spPr>
          <a:xfrm>
            <a:off x="5774103" y="4968876"/>
            <a:ext cx="2984015" cy="1731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ja-JP" altLang="en-US" sz="525"/>
              <a:t>Copyright ©</a:t>
            </a:r>
            <a:r>
              <a:rPr lang="en-US" altLang="ja-JP" sz="525" err="1"/>
              <a:t>ReGACY</a:t>
            </a:r>
            <a:r>
              <a:rPr lang="en-US" altLang="ja-JP" sz="525"/>
              <a:t> Innovation Group, I</a:t>
            </a:r>
            <a:r>
              <a:rPr lang="ja-JP" altLang="en-US" sz="525"/>
              <a:t>nc</a:t>
            </a:r>
            <a:r>
              <a:rPr lang="en-US" altLang="ja-JP" sz="525"/>
              <a:t>.</a:t>
            </a:r>
            <a:r>
              <a:rPr lang="ja-JP" altLang="en-US" sz="525"/>
              <a:t> All rights reserved. </a:t>
            </a:r>
            <a:endParaRPr lang="ja-JP" altLang="en-US" sz="750"/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AF2A8F93-7C4F-A545-A1B1-D42CA67F6D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6051" y="432419"/>
            <a:ext cx="8851900" cy="28575"/>
          </a:xfrm>
          <a:prstGeom prst="rect">
            <a:avLst/>
          </a:prstGeom>
        </p:spPr>
      </p:pic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5C64491C-B13D-FB4E-91D8-DFB0976DED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3364" y="4901652"/>
            <a:ext cx="369036" cy="273844"/>
          </a:xfrm>
          <a:prstGeom prst="rect">
            <a:avLst/>
          </a:prstGeom>
        </p:spPr>
        <p:txBody>
          <a:bodyPr/>
          <a:lstStyle/>
          <a:p>
            <a:fld id="{4C3E7FFA-7CC9-7749-8BE5-606DD00A2B0C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1964E4B4-FFEE-E344-8B92-D26C9FB1F6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41599" y="116624"/>
            <a:ext cx="8851900" cy="273844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latin typeface="Hiragino Sans W4" panose="020B0400000000000000" pitchFamily="34" charset="-128"/>
                <a:ea typeface="Hiragino Sans W4" panose="020B0400000000000000" pitchFamily="34" charset="-128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ja-JP" altLang="en-US"/>
              <a:t>タイトルタイトルタイトル（センター揃えも</a:t>
            </a:r>
            <a:r>
              <a:rPr lang="en-US" altLang="ja-JP"/>
              <a:t>OK</a:t>
            </a:r>
            <a:r>
              <a:rPr lang="ja-JP" altLang="en-US"/>
              <a:t>）</a:t>
            </a:r>
            <a:endParaRPr lang="en-US" altLang="ja-JP"/>
          </a:p>
        </p:txBody>
      </p:sp>
      <p:pic>
        <p:nvPicPr>
          <p:cNvPr id="10" name="図 9" descr="図形&#10;&#10;低い精度で自動的に生成された説明">
            <a:extLst>
              <a:ext uri="{FF2B5EF4-FFF2-40B4-BE49-F238E27FC236}">
                <a16:creationId xmlns:a16="http://schemas.microsoft.com/office/drawing/2014/main" id="{16D094EE-3BBD-3440-96AB-1F9E32E195D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1600" y="4322437"/>
            <a:ext cx="1432273" cy="1432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568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黒い背景に白い文字がある&#10;&#10;低い精度で自動的に生成された説明">
            <a:extLst>
              <a:ext uri="{FF2B5EF4-FFF2-40B4-BE49-F238E27FC236}">
                <a16:creationId xmlns:a16="http://schemas.microsoft.com/office/drawing/2014/main" id="{8B189117-E08C-A744-9F46-25BA6C2178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38901" y="1146054"/>
            <a:ext cx="2666198" cy="2666198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F8590346-09D3-1248-9AA0-703FD6859822}"/>
              </a:ext>
            </a:extLst>
          </p:cNvPr>
          <p:cNvSpPr/>
          <p:nvPr userDrawn="1"/>
        </p:nvSpPr>
        <p:spPr>
          <a:xfrm>
            <a:off x="5774103" y="4968876"/>
            <a:ext cx="2984015" cy="1731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ja-JP" altLang="en-US" sz="525"/>
              <a:t>Copyright © Samurai Incubate.inc All rights reserved. </a:t>
            </a:r>
            <a:endParaRPr lang="ja-JP" altLang="en-US" sz="750"/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148C63B7-282D-1840-9048-923B2CF898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875" y="5015439"/>
            <a:ext cx="1249837" cy="52076"/>
          </a:xfrm>
          <a:prstGeom prst="rect">
            <a:avLst/>
          </a:prstGeom>
        </p:spPr>
      </p:pic>
      <p:pic>
        <p:nvPicPr>
          <p:cNvPr id="9" name="図 8">
            <a:extLst>
              <a:ext uri="{FF2B5EF4-FFF2-40B4-BE49-F238E27FC236}">
                <a16:creationId xmlns:a16="http://schemas.microsoft.com/office/drawing/2014/main" id="{AF2A8F93-7C4F-A545-A1B1-D42CA67F6D6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6051" y="432419"/>
            <a:ext cx="8851900" cy="28575"/>
          </a:xfrm>
          <a:prstGeom prst="rect">
            <a:avLst/>
          </a:prstGeom>
        </p:spPr>
      </p:pic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5C64491C-B13D-FB4E-91D8-DFB0976DED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3364" y="4901652"/>
            <a:ext cx="369036" cy="273844"/>
          </a:xfrm>
          <a:prstGeom prst="rect">
            <a:avLst/>
          </a:prstGeom>
        </p:spPr>
        <p:txBody>
          <a:bodyPr/>
          <a:lstStyle/>
          <a:p>
            <a:fld id="{4C3E7FFA-7CC9-7749-8BE5-606DD00A2B0C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3201B03-5D7B-D34A-BBDB-D7E05E141C8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76589" y="187152"/>
            <a:ext cx="8721361" cy="273844"/>
          </a:xfrm>
        </p:spPr>
        <p:txBody>
          <a:bodyPr>
            <a:noAutofit/>
          </a:bodyPr>
          <a:lstStyle>
            <a:lvl1pPr marL="0" indent="0" algn="l">
              <a:buNone/>
              <a:defRPr sz="1500">
                <a:latin typeface="Hiragino Sans W4" panose="020B0400000000000000" pitchFamily="34" charset="-128"/>
                <a:ea typeface="Hiragino Sans W4" panose="020B0400000000000000" pitchFamily="34" charset="-128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ja-JP" altLang="en-US"/>
              <a:t>タイトルタイトルタイトル（センター揃えも</a:t>
            </a:r>
            <a:r>
              <a:rPr lang="en-US" altLang="ja-JP"/>
              <a:t>OK</a:t>
            </a:r>
            <a:r>
              <a:rPr lang="ja-JP" altLang="en-US"/>
              <a:t>）</a:t>
            </a:r>
            <a:endParaRPr lang="en-US" altLang="ja-JP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1886E91-6EFD-E545-8417-CE6D054BF6A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34176" y="537125"/>
            <a:ext cx="8864600" cy="43906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00424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4_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1C4CAC4F-B5B7-C249-A628-C263A372CB4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70300" y="2125318"/>
            <a:ext cx="1803400" cy="828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7093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F8590346-09D3-1248-9AA0-703FD6859822}"/>
              </a:ext>
            </a:extLst>
          </p:cNvPr>
          <p:cNvSpPr/>
          <p:nvPr userDrawn="1"/>
        </p:nvSpPr>
        <p:spPr>
          <a:xfrm>
            <a:off x="5774103" y="4968875"/>
            <a:ext cx="2984015" cy="1731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ja-JP" altLang="en-US" sz="525"/>
              <a:t>Copyright © Samurai Incubate.inc All rights reserved. </a:t>
            </a:r>
            <a:endParaRPr lang="ja-JP" altLang="en-US" sz="750"/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148C63B7-282D-1840-9048-923B2CF8981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6875" y="5015438"/>
            <a:ext cx="1249837" cy="52076"/>
          </a:xfrm>
          <a:prstGeom prst="rect">
            <a:avLst/>
          </a:prstGeom>
        </p:spPr>
      </p:pic>
      <p:pic>
        <p:nvPicPr>
          <p:cNvPr id="9" name="図 8">
            <a:extLst>
              <a:ext uri="{FF2B5EF4-FFF2-40B4-BE49-F238E27FC236}">
                <a16:creationId xmlns:a16="http://schemas.microsoft.com/office/drawing/2014/main" id="{AF2A8F93-7C4F-A545-A1B1-D42CA67F6D6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6050" y="432419"/>
            <a:ext cx="8851900" cy="28575"/>
          </a:xfrm>
          <a:prstGeom prst="rect">
            <a:avLst/>
          </a:prstGeom>
        </p:spPr>
      </p:pic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5C64491C-B13D-FB4E-91D8-DFB0976DED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33364" y="4901651"/>
            <a:ext cx="369036" cy="273844"/>
          </a:xfrm>
          <a:prstGeom prst="rect">
            <a:avLst/>
          </a:prstGeom>
        </p:spPr>
        <p:txBody>
          <a:bodyPr/>
          <a:lstStyle/>
          <a:p>
            <a:fld id="{4C3E7FFA-7CC9-7749-8BE5-606DD00A2B0C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3201B03-5D7B-D34A-BBDB-D7E05E141C8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76589" y="187151"/>
            <a:ext cx="8721361" cy="2738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200">
                <a:latin typeface="Hiragino Sans W4" panose="020B0400000000000000" pitchFamily="34" charset="-128"/>
                <a:ea typeface="Hiragino Sans W4" panose="020B0400000000000000" pitchFamily="34" charset="-128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ja-JP" altLang="en-US"/>
              <a:t>タイトルタイトルタイトル（センター揃えも</a:t>
            </a:r>
            <a:r>
              <a:rPr lang="en-US" altLang="ja-JP"/>
              <a:t>OK</a:t>
            </a:r>
            <a:r>
              <a:rPr lang="ja-JP" altLang="en-US"/>
              <a:t>）</a:t>
            </a:r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868501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201931-9DA5-894B-B37A-CF7F190E1E35}" type="datetime4">
              <a:rPr kumimoji="1" lang="ja-JP" altLang="en-US" smtClean="0"/>
              <a:t>2024年10月31日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3E7FFA-7CC9-7749-8BE5-606DD00A2B0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99378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727" r:id="rId2"/>
    <p:sldLayoutId id="2147483679" r:id="rId3"/>
    <p:sldLayoutId id="2147483685" r:id="rId4"/>
    <p:sldLayoutId id="2147483726" r:id="rId5"/>
    <p:sldLayoutId id="2147483675" r:id="rId6"/>
    <p:sldLayoutId id="2147483730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45" r:id="rId13"/>
    <p:sldLayoutId id="2147483749" r:id="rId14"/>
    <p:sldLayoutId id="2147483750" r:id="rId15"/>
    <p:sldLayoutId id="2147483751" r:id="rId16"/>
    <p:sldLayoutId id="2147483752" r:id="rId17"/>
    <p:sldLayoutId id="2147483753" r:id="rId18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kumimoji="1" sz="3300" kern="1200">
          <a:solidFill>
            <a:schemeClr val="tx1"/>
          </a:solidFill>
          <a:latin typeface="Hiragino Sans W4" panose="020B0400000000000000" pitchFamily="34" charset="-128"/>
          <a:ea typeface="Hiragino Sans W4" panose="020B0400000000000000" pitchFamily="34" charset="-128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kumimoji="1" sz="2100" kern="1200">
          <a:solidFill>
            <a:schemeClr val="tx1"/>
          </a:solidFill>
          <a:latin typeface="Hiragino Sans W4" panose="020B0400000000000000" pitchFamily="34" charset="-128"/>
          <a:ea typeface="Hiragino Sans W4" panose="020B0400000000000000" pitchFamily="34" charset="-128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Hiragino Sans W4" panose="020B0400000000000000" pitchFamily="34" charset="-128"/>
          <a:ea typeface="Hiragino Sans W4" panose="020B0400000000000000" pitchFamily="34" charset="-128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500" kern="1200">
          <a:solidFill>
            <a:schemeClr val="tx1"/>
          </a:solidFill>
          <a:latin typeface="Hiragino Sans W4" panose="020B0400000000000000" pitchFamily="34" charset="-128"/>
          <a:ea typeface="Hiragino Sans W4" panose="020B0400000000000000" pitchFamily="34" charset="-128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Hiragino Sans W4" panose="020B0400000000000000" pitchFamily="34" charset="-128"/>
          <a:ea typeface="Hiragino Sans W4" panose="020B0400000000000000" pitchFamily="34" charset="-128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Hiragino Sans W4" panose="020B0400000000000000" pitchFamily="34" charset="-128"/>
          <a:ea typeface="Hiragino Sans W4" panose="020B0400000000000000" pitchFamily="34" charset="-128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テキスト ボックス 14"/>
          <p:cNvSpPr txBox="1"/>
          <p:nvPr/>
        </p:nvSpPr>
        <p:spPr>
          <a:xfrm>
            <a:off x="8227791" y="4935751"/>
            <a:ext cx="664689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DD9FF53-5E75-4890-BA22-699EFFF134BB}" type="slidenum">
              <a:rPr lang="ja-JP" altLang="en-US" sz="900">
                <a:solidFill>
                  <a:prstClr val="black"/>
                </a:solidFill>
              </a:rPr>
              <a:pPr algn="r"/>
              <a:t>‹#›</a:t>
            </a:fld>
            <a:endParaRPr lang="ja-JP" altLang="en-US" sz="9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8698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</p:sldLayoutIdLst>
  <p:hf hdr="0" dt="0"/>
  <p:txStyles>
    <p:titleStyle>
      <a:lvl1pPr marL="0" marR="0" indent="0" algn="l" defTabSz="685800" rtl="0" eaLnBrk="1" fontAlgn="auto" latinLnBrk="0" hangingPunct="1">
        <a:lnSpc>
          <a:spcPct val="10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1" sz="1500" b="1" kern="1200">
          <a:solidFill>
            <a:schemeClr val="tx1"/>
          </a:solidFill>
          <a:latin typeface="+mj-ea"/>
          <a:ea typeface="+mj-ea"/>
          <a:cs typeface="+mj-cs"/>
        </a:defRPr>
      </a:lvl1pPr>
    </p:titleStyle>
    <p:bodyStyle>
      <a:lvl1pPr marL="140494" marR="0" indent="-140494" algn="l" defTabSz="647700" rtl="0" eaLnBrk="1" fontAlgn="base" latinLnBrk="0" hangingPunct="1">
        <a:lnSpc>
          <a:spcPct val="100000"/>
        </a:lnSpc>
        <a:spcBef>
          <a:spcPct val="30000"/>
        </a:spcBef>
        <a:spcAft>
          <a:spcPct val="0"/>
        </a:spcAft>
        <a:buClr>
          <a:schemeClr val="bg1">
            <a:lumMod val="75000"/>
          </a:schemeClr>
        </a:buClr>
        <a:buSzTx/>
        <a:buFont typeface="Wingdings" pitchFamily="2" charset="2"/>
        <a:buChar char="n"/>
        <a:tabLst/>
        <a:defRPr kumimoji="1" sz="1200" kern="1200">
          <a:solidFill>
            <a:schemeClr val="tx1"/>
          </a:solidFill>
          <a:latin typeface="+mn-ea"/>
          <a:ea typeface="+mn-ea"/>
          <a:cs typeface="+mn-cs"/>
        </a:defRPr>
      </a:lvl1pPr>
      <a:lvl2pPr marL="423863" marR="0" indent="-140494" algn="l" defTabSz="647700" rtl="0" eaLnBrk="1" fontAlgn="base" latinLnBrk="0" hangingPunct="1">
        <a:lnSpc>
          <a:spcPct val="100000"/>
        </a:lnSpc>
        <a:spcBef>
          <a:spcPct val="30000"/>
        </a:spcBef>
        <a:spcAft>
          <a:spcPct val="0"/>
        </a:spcAft>
        <a:buClr>
          <a:schemeClr val="bg1">
            <a:lumMod val="75000"/>
          </a:schemeClr>
        </a:buClr>
        <a:buSzTx/>
        <a:buFont typeface="Wingdings" pitchFamily="2" charset="2"/>
        <a:buChar char="l"/>
        <a:tabLst/>
        <a:defRPr kumimoji="1" sz="1050" kern="1200">
          <a:solidFill>
            <a:schemeClr val="tx1"/>
          </a:solidFill>
          <a:latin typeface="+mn-ea"/>
          <a:ea typeface="+mn-ea"/>
          <a:cs typeface="+mn-cs"/>
        </a:defRPr>
      </a:lvl2pPr>
      <a:lvl3pPr marL="714375" marR="0" indent="-147638" algn="l" defTabSz="64770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bg1">
            <a:lumMod val="75000"/>
          </a:schemeClr>
        </a:buClr>
        <a:buSzTx/>
        <a:buFontTx/>
        <a:buChar char="▪"/>
        <a:tabLst/>
        <a:defRPr kumimoji="1" sz="1050" kern="1200">
          <a:solidFill>
            <a:schemeClr val="tx1"/>
          </a:solidFill>
          <a:latin typeface="+mn-ea"/>
          <a:ea typeface="+mn-ea"/>
          <a:cs typeface="+mn-cs"/>
        </a:defRPr>
      </a:lvl3pPr>
      <a:lvl4pPr marL="1001316" marR="0" indent="-144066" algn="l" defTabSz="647700" rtl="0" eaLnBrk="1" fontAlgn="base" latinLnBrk="0" hangingPunct="1">
        <a:lnSpc>
          <a:spcPct val="100000"/>
        </a:lnSpc>
        <a:spcBef>
          <a:spcPct val="15000"/>
        </a:spcBef>
        <a:spcAft>
          <a:spcPct val="0"/>
        </a:spcAft>
        <a:buClr>
          <a:schemeClr val="bg1">
            <a:lumMod val="75000"/>
          </a:schemeClr>
        </a:buClr>
        <a:buSzTx/>
        <a:buFontTx/>
        <a:buChar char="▪"/>
        <a:tabLst/>
        <a:defRPr kumimoji="1" sz="900" kern="1200">
          <a:solidFill>
            <a:schemeClr val="tx1"/>
          </a:solidFill>
          <a:latin typeface="+mn-ea"/>
          <a:ea typeface="+mn-ea"/>
          <a:cs typeface="+mn-cs"/>
        </a:defRPr>
      </a:lvl4pPr>
      <a:lvl5pPr marL="1288256" marR="0" indent="-144066" algn="l" defTabSz="647700" rtl="0" eaLnBrk="1" fontAlgn="base" latinLnBrk="0" hangingPunct="1">
        <a:lnSpc>
          <a:spcPct val="100000"/>
        </a:lnSpc>
        <a:spcBef>
          <a:spcPct val="10000"/>
        </a:spcBef>
        <a:spcAft>
          <a:spcPct val="0"/>
        </a:spcAft>
        <a:buClr>
          <a:schemeClr val="bg1">
            <a:lumMod val="75000"/>
          </a:schemeClr>
        </a:buClr>
        <a:buSzTx/>
        <a:buFontTx/>
        <a:buChar char="▪"/>
        <a:tabLst/>
        <a:defRPr kumimoji="1" sz="900" kern="1200">
          <a:solidFill>
            <a:schemeClr val="tx1"/>
          </a:solidFill>
          <a:latin typeface="+mn-ea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0F4ACA8B-2C05-694A-8B31-CB233B6C10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3E7FFA-7CC9-7749-8BE5-606DD00A2B0C}" type="slidenum">
              <a:rPr lang="ja-JP" altLang="en-US" smtClean="0"/>
              <a:pPr/>
              <a:t>0</a:t>
            </a:fld>
            <a:endParaRPr lang="ja-JP" altLang="en-US"/>
          </a:p>
        </p:txBody>
      </p:sp>
      <p:sp>
        <p:nvSpPr>
          <p:cNvPr id="10" name="字幕 9">
            <a:extLst>
              <a:ext uri="{FF2B5EF4-FFF2-40B4-BE49-F238E27FC236}">
                <a16:creationId xmlns:a16="http://schemas.microsoft.com/office/drawing/2014/main" id="{5230861F-48E0-C54C-9BBE-20099890831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ja-JP" altLang="en-US" sz="1350" kern="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rial" pitchFamily="34" charset="0"/>
              </a:rPr>
              <a:t>自主ワーク </a:t>
            </a:r>
            <a:r>
              <a:rPr lang="en-US" altLang="ja-JP" sz="1350" kern="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rial" pitchFamily="34" charset="0"/>
              </a:rPr>
              <a:t>/ FPF</a:t>
            </a:r>
            <a:r>
              <a:rPr lang="ja-JP" altLang="en-US" sz="1350" kern="0" dirty="0">
                <a:latin typeface="BIZ UDPゴシック" panose="020B0400000000000000" pitchFamily="50" charset="-128"/>
                <a:ea typeface="BIZ UDPゴシック" panose="020B0400000000000000" pitchFamily="50" charset="-128"/>
                <a:cs typeface="Arial" pitchFamily="34" charset="0"/>
              </a:rPr>
              <a:t>の自主チェック</a:t>
            </a:r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9EA8F751-742A-329A-DA17-1F6C9C463D74}"/>
              </a:ext>
            </a:extLst>
          </p:cNvPr>
          <p:cNvSpPr txBox="1"/>
          <p:nvPr/>
        </p:nvSpPr>
        <p:spPr>
          <a:xfrm>
            <a:off x="651631" y="649707"/>
            <a:ext cx="80405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＜自主ワークの内容＞</a:t>
            </a:r>
            <a:endParaRPr kumimoji="1" lang="en-US" altLang="ja-JP" sz="12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1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FPF</a:t>
            </a:r>
            <a:r>
              <a:rPr kumimoji="1" lang="ja-JP" altLang="en-US" sz="1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</a:t>
            </a:r>
            <a:r>
              <a:rPr kumimoji="1" lang="en-US" altLang="ja-JP" sz="1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3</a:t>
            </a:r>
            <a:r>
              <a:rPr kumimoji="1" lang="ja-JP" altLang="en-US" sz="1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つの軸で、ご自身の起案アイデアを評価してみてください。</a:t>
            </a:r>
            <a:endParaRPr kumimoji="1" lang="en-US" altLang="ja-JP" sz="12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r>
              <a:rPr lang="ja-JP" altLang="en-US" sz="1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</a:t>
            </a:r>
            <a:r>
              <a:rPr lang="en-US" altLang="ja-JP" sz="1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複数のアイデアがある方は、両方を比較してみてください</a:t>
            </a:r>
            <a:endParaRPr lang="en-US" altLang="ja-JP" sz="1200" dirty="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ja-JP" altLang="en-US" sz="1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そのうえで</a:t>
            </a:r>
            <a:r>
              <a:rPr lang="ja-JP" altLang="en-US" sz="1200" b="1" u="sng" dirty="0">
                <a:solidFill>
                  <a:srgbClr val="FF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人になんと言われようと、自分がやってやると思えるテーマか？」</a:t>
            </a:r>
            <a:r>
              <a:rPr lang="ja-JP" altLang="en-US" sz="1200" dirty="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考えてみてください。</a:t>
            </a:r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AEDE5DD9-B1C6-4D66-9095-D0118BE58634}"/>
              </a:ext>
            </a:extLst>
          </p:cNvPr>
          <p:cNvSpPr/>
          <p:nvPr/>
        </p:nvSpPr>
        <p:spPr>
          <a:xfrm>
            <a:off x="1764345" y="2022645"/>
            <a:ext cx="1822003" cy="86651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ja-JP" altLang="en-US" sz="105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他の人よりも</a:t>
            </a:r>
            <a:endParaRPr lang="en-US" altLang="ja-JP" sz="1050" dirty="0">
              <a:solidFill>
                <a:schemeClr val="tx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ctr">
              <a:spcBef>
                <a:spcPts val="600"/>
              </a:spcBef>
            </a:pPr>
            <a:r>
              <a:rPr lang="ja-JP" altLang="en-US" sz="1050" b="1" u="sng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得意</a:t>
            </a:r>
            <a:r>
              <a:rPr lang="en-US" altLang="ja-JP" sz="1050" b="1" u="sng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/ </a:t>
            </a:r>
            <a:r>
              <a:rPr lang="ja-JP" altLang="en-US" sz="1050" b="1" u="sng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こだわり</a:t>
            </a:r>
            <a:r>
              <a:rPr lang="ja-JP" altLang="en-US" sz="105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がある</a:t>
            </a:r>
            <a:endParaRPr lang="en-US" altLang="ja-JP" sz="1050" dirty="0">
              <a:solidFill>
                <a:schemeClr val="tx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ctr">
              <a:spcBef>
                <a:spcPts val="600"/>
              </a:spcBef>
            </a:pPr>
            <a:r>
              <a:rPr lang="ja-JP" altLang="en-US" sz="105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と思えることか？</a:t>
            </a:r>
            <a:endParaRPr kumimoji="1" lang="ja-JP" altLang="en-US" sz="1050" dirty="0">
              <a:solidFill>
                <a:schemeClr val="tx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E44F0D23-7854-E4F5-C6DE-AE6BB1486965}"/>
              </a:ext>
            </a:extLst>
          </p:cNvPr>
          <p:cNvSpPr/>
          <p:nvPr/>
        </p:nvSpPr>
        <p:spPr>
          <a:xfrm>
            <a:off x="501139" y="2026719"/>
            <a:ext cx="1263206" cy="863748"/>
          </a:xfrm>
          <a:prstGeom prst="rect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050" b="1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自分が勝てるか？</a:t>
            </a:r>
            <a:endParaRPr kumimoji="1" lang="ja-JP" altLang="en-US" sz="1050" b="1">
              <a:solidFill>
                <a:schemeClr val="bg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EA88BAE5-1301-0945-B82B-F38315C3C397}"/>
              </a:ext>
            </a:extLst>
          </p:cNvPr>
          <p:cNvSpPr/>
          <p:nvPr/>
        </p:nvSpPr>
        <p:spPr>
          <a:xfrm>
            <a:off x="1764345" y="3759843"/>
            <a:ext cx="1822003" cy="86782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kumimoji="1" lang="ja-JP" altLang="en-US" sz="105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誰に言われなくとも</a:t>
            </a:r>
            <a:endParaRPr kumimoji="1" lang="en-US" altLang="ja-JP" sz="1050" dirty="0">
              <a:solidFill>
                <a:schemeClr val="tx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ctr">
              <a:spcBef>
                <a:spcPts val="600"/>
              </a:spcBef>
            </a:pPr>
            <a:r>
              <a:rPr kumimoji="1" lang="ja-JP" altLang="en-US" sz="1050" b="1" u="sng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ふと気づいたら</a:t>
            </a:r>
            <a:endParaRPr kumimoji="1" lang="en-US" altLang="ja-JP" sz="1050" b="1" u="sng" dirty="0">
              <a:solidFill>
                <a:schemeClr val="tx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ctr">
              <a:spcBef>
                <a:spcPts val="600"/>
              </a:spcBef>
            </a:pPr>
            <a:r>
              <a:rPr kumimoji="1" lang="ja-JP" altLang="en-US" sz="1050" b="1" u="sng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考えている</a:t>
            </a:r>
            <a:r>
              <a:rPr kumimoji="1" lang="ja-JP" altLang="en-US" sz="105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ことか？</a:t>
            </a:r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7D47D8A2-1BC8-CDE9-3D17-3F12A1353306}"/>
              </a:ext>
            </a:extLst>
          </p:cNvPr>
          <p:cNvSpPr/>
          <p:nvPr/>
        </p:nvSpPr>
        <p:spPr>
          <a:xfrm>
            <a:off x="501139" y="3759844"/>
            <a:ext cx="1263206" cy="872136"/>
          </a:xfrm>
          <a:prstGeom prst="rect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050" b="1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性に合うか？</a:t>
            </a:r>
            <a:endParaRPr kumimoji="1" lang="ja-JP" altLang="en-US" sz="1050" b="1">
              <a:solidFill>
                <a:schemeClr val="bg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4D358B01-DAB7-9A4A-E233-1B049128C814}"/>
              </a:ext>
            </a:extLst>
          </p:cNvPr>
          <p:cNvSpPr/>
          <p:nvPr/>
        </p:nvSpPr>
        <p:spPr>
          <a:xfrm>
            <a:off x="1764345" y="2889155"/>
            <a:ext cx="1822003" cy="87476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kumimoji="1" lang="ja-JP" altLang="en-US" sz="105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自身の</a:t>
            </a:r>
            <a:r>
              <a:rPr kumimoji="1" lang="ja-JP" altLang="en-US" sz="1050" b="1" u="sng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原体験</a:t>
            </a:r>
            <a:r>
              <a:rPr kumimoji="1" lang="ja-JP" altLang="en-US" sz="105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から</a:t>
            </a:r>
            <a:endParaRPr kumimoji="1" lang="en-US" altLang="ja-JP" sz="1050" dirty="0">
              <a:solidFill>
                <a:schemeClr val="tx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ctr">
              <a:spcBef>
                <a:spcPts val="600"/>
              </a:spcBef>
            </a:pPr>
            <a:r>
              <a:rPr kumimoji="1" lang="ja-JP" altLang="en-US" sz="105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リアリティを持って</a:t>
            </a:r>
            <a:endParaRPr kumimoji="1" lang="en-US" altLang="ja-JP" sz="1050" dirty="0">
              <a:solidFill>
                <a:schemeClr val="tx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ctr">
              <a:spcBef>
                <a:spcPts val="600"/>
              </a:spcBef>
            </a:pPr>
            <a:r>
              <a:rPr kumimoji="1" lang="ja-JP" altLang="en-US" sz="1050" b="1" u="sng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経済体・社会的意義</a:t>
            </a:r>
            <a:r>
              <a:rPr kumimoji="1" lang="ja-JP" altLang="en-US" sz="105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</a:t>
            </a:r>
            <a:br>
              <a:rPr kumimoji="1" lang="en-US" altLang="ja-JP" sz="105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</a:br>
            <a:r>
              <a:rPr kumimoji="1" lang="ja-JP" altLang="en-US" sz="105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語ること</a:t>
            </a:r>
            <a:r>
              <a:rPr lang="ja-JP" altLang="en-US" sz="105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ができるか</a:t>
            </a:r>
            <a:r>
              <a:rPr kumimoji="1" lang="ja-JP" altLang="en-US" sz="105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？</a:t>
            </a:r>
            <a:endParaRPr kumimoji="1" lang="en-US" altLang="ja-JP" sz="1050" dirty="0">
              <a:solidFill>
                <a:schemeClr val="tx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D511E4A8-41C0-CCD1-390E-4D926ED36B7B}"/>
              </a:ext>
            </a:extLst>
          </p:cNvPr>
          <p:cNvSpPr/>
          <p:nvPr/>
        </p:nvSpPr>
        <p:spPr>
          <a:xfrm>
            <a:off x="501139" y="2890468"/>
            <a:ext cx="1263206" cy="872136"/>
          </a:xfrm>
          <a:prstGeom prst="rect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050" b="1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魅力が高いか？</a:t>
            </a:r>
            <a:endParaRPr kumimoji="1" lang="ja-JP" altLang="en-US" sz="1050" b="1">
              <a:solidFill>
                <a:schemeClr val="bg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F19DF9CC-0249-9782-3D69-D10D20412D04}"/>
              </a:ext>
            </a:extLst>
          </p:cNvPr>
          <p:cNvSpPr/>
          <p:nvPr/>
        </p:nvSpPr>
        <p:spPr>
          <a:xfrm>
            <a:off x="280767" y="2026719"/>
            <a:ext cx="220372" cy="863748"/>
          </a:xfrm>
          <a:prstGeom prst="rect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200" b="1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</a:t>
            </a:r>
            <a:endParaRPr kumimoji="1" lang="ja-JP" altLang="en-US" sz="1200" b="1">
              <a:solidFill>
                <a:schemeClr val="bg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C5423545-33E4-3138-5E26-6223AE67778A}"/>
              </a:ext>
            </a:extLst>
          </p:cNvPr>
          <p:cNvSpPr/>
          <p:nvPr/>
        </p:nvSpPr>
        <p:spPr>
          <a:xfrm>
            <a:off x="280767" y="3759844"/>
            <a:ext cx="220372" cy="872136"/>
          </a:xfrm>
          <a:prstGeom prst="rect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200" b="1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3</a:t>
            </a:r>
            <a:endParaRPr kumimoji="1" lang="ja-JP" altLang="en-US" sz="1200" b="1">
              <a:solidFill>
                <a:schemeClr val="bg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43ECF1B8-6723-51EA-F014-0135135453AB}"/>
              </a:ext>
            </a:extLst>
          </p:cNvPr>
          <p:cNvSpPr/>
          <p:nvPr/>
        </p:nvSpPr>
        <p:spPr>
          <a:xfrm>
            <a:off x="280767" y="2890468"/>
            <a:ext cx="220372" cy="872136"/>
          </a:xfrm>
          <a:prstGeom prst="rect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200" b="1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</a:t>
            </a:r>
            <a:endParaRPr kumimoji="1" lang="ja-JP" altLang="en-US" sz="1200" b="1">
              <a:solidFill>
                <a:schemeClr val="bg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6D993C3D-A628-D376-7E19-BD2DA453695E}"/>
              </a:ext>
            </a:extLst>
          </p:cNvPr>
          <p:cNvSpPr txBox="1"/>
          <p:nvPr/>
        </p:nvSpPr>
        <p:spPr>
          <a:xfrm>
            <a:off x="1571919" y="1686230"/>
            <a:ext cx="6078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100" b="1" u="sng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評価軸</a:t>
            </a:r>
          </a:p>
        </p:txBody>
      </p:sp>
      <p:sp>
        <p:nvSpPr>
          <p:cNvPr id="45" name="正方形/長方形 44">
            <a:extLst>
              <a:ext uri="{FF2B5EF4-FFF2-40B4-BE49-F238E27FC236}">
                <a16:creationId xmlns:a16="http://schemas.microsoft.com/office/drawing/2014/main" id="{23958A19-32E7-F6BB-CD96-80E63B89C67A}"/>
              </a:ext>
            </a:extLst>
          </p:cNvPr>
          <p:cNvSpPr/>
          <p:nvPr/>
        </p:nvSpPr>
        <p:spPr>
          <a:xfrm>
            <a:off x="3583106" y="2022645"/>
            <a:ext cx="577777" cy="86651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kumimoji="1" lang="en-US" altLang="ja-JP" sz="1100" b="1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es/No</a:t>
            </a:r>
            <a:endParaRPr kumimoji="1" lang="ja-JP" altLang="en-US" sz="1100" b="1" dirty="0">
              <a:solidFill>
                <a:schemeClr val="tx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D23567EC-0891-0ADF-614A-9357F54A428E}"/>
              </a:ext>
            </a:extLst>
          </p:cNvPr>
          <p:cNvSpPr/>
          <p:nvPr/>
        </p:nvSpPr>
        <p:spPr>
          <a:xfrm>
            <a:off x="3583106" y="3759843"/>
            <a:ext cx="577777" cy="867822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kumimoji="1" lang="en-US" altLang="ja-JP" sz="1100" b="1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es/No</a:t>
            </a:r>
            <a:endParaRPr kumimoji="1" lang="ja-JP" altLang="en-US" sz="1100" b="1" dirty="0">
              <a:solidFill>
                <a:schemeClr val="tx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9FD9F844-3025-1A19-7EA5-1FC6AFCEE1C5}"/>
              </a:ext>
            </a:extLst>
          </p:cNvPr>
          <p:cNvSpPr/>
          <p:nvPr/>
        </p:nvSpPr>
        <p:spPr>
          <a:xfrm>
            <a:off x="3583106" y="2889155"/>
            <a:ext cx="577777" cy="874762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kumimoji="1" lang="en-US" altLang="ja-JP" sz="1100" b="1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Yes/No</a:t>
            </a:r>
            <a:endParaRPr kumimoji="1" lang="ja-JP" altLang="en-US" sz="1100" b="1" dirty="0">
              <a:solidFill>
                <a:schemeClr val="tx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9" name="正方形/長方形 48">
            <a:extLst>
              <a:ext uri="{FF2B5EF4-FFF2-40B4-BE49-F238E27FC236}">
                <a16:creationId xmlns:a16="http://schemas.microsoft.com/office/drawing/2014/main" id="{F6F2EE4B-0513-510A-98F2-6E797209D0B9}"/>
              </a:ext>
            </a:extLst>
          </p:cNvPr>
          <p:cNvSpPr/>
          <p:nvPr/>
        </p:nvSpPr>
        <p:spPr>
          <a:xfrm>
            <a:off x="4154393" y="2022645"/>
            <a:ext cx="2336980" cy="86651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600"/>
              </a:spcBef>
              <a:buFont typeface="Wingdings" pitchFamily="2" charset="2"/>
              <a:buChar char="Ø"/>
            </a:pPr>
            <a:r>
              <a:rPr kumimoji="1" lang="en-US" altLang="ja-JP" sz="105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XXX</a:t>
            </a:r>
            <a:endParaRPr kumimoji="1" lang="ja-JP" altLang="en-US" sz="1050">
              <a:solidFill>
                <a:schemeClr val="tx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1" name="正方形/長方形 50">
            <a:extLst>
              <a:ext uri="{FF2B5EF4-FFF2-40B4-BE49-F238E27FC236}">
                <a16:creationId xmlns:a16="http://schemas.microsoft.com/office/drawing/2014/main" id="{CE2F595C-67B7-FB71-A138-D62E2E6DCFFE}"/>
              </a:ext>
            </a:extLst>
          </p:cNvPr>
          <p:cNvSpPr/>
          <p:nvPr/>
        </p:nvSpPr>
        <p:spPr>
          <a:xfrm>
            <a:off x="4154393" y="3759843"/>
            <a:ext cx="2336980" cy="867822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600"/>
              </a:spcBef>
              <a:buFont typeface="Wingdings" pitchFamily="2" charset="2"/>
              <a:buChar char="Ø"/>
            </a:pPr>
            <a:r>
              <a:rPr kumimoji="1" lang="en-US" altLang="ja-JP" sz="105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XXX</a:t>
            </a:r>
            <a:endParaRPr kumimoji="1" lang="ja-JP" altLang="en-US" sz="1050">
              <a:solidFill>
                <a:schemeClr val="tx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3" name="正方形/長方形 52">
            <a:extLst>
              <a:ext uri="{FF2B5EF4-FFF2-40B4-BE49-F238E27FC236}">
                <a16:creationId xmlns:a16="http://schemas.microsoft.com/office/drawing/2014/main" id="{2ABEA21C-CE8C-9971-4A9A-1138917DAE7F}"/>
              </a:ext>
            </a:extLst>
          </p:cNvPr>
          <p:cNvSpPr/>
          <p:nvPr/>
        </p:nvSpPr>
        <p:spPr>
          <a:xfrm>
            <a:off x="4154393" y="2889155"/>
            <a:ext cx="2336980" cy="874762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600"/>
              </a:spcBef>
              <a:buFont typeface="Wingdings" pitchFamily="2" charset="2"/>
              <a:buChar char="Ø"/>
            </a:pPr>
            <a:r>
              <a:rPr kumimoji="1" lang="en-US" altLang="ja-JP" sz="105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XXX</a:t>
            </a:r>
          </a:p>
        </p:txBody>
      </p:sp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A67C9FF1-AC7A-24F7-DF7D-9CD502CC420A}"/>
              </a:ext>
            </a:extLst>
          </p:cNvPr>
          <p:cNvSpPr txBox="1"/>
          <p:nvPr/>
        </p:nvSpPr>
        <p:spPr>
          <a:xfrm>
            <a:off x="4672609" y="1686230"/>
            <a:ext cx="136559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1100" b="1" u="sng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評価の理由</a:t>
            </a:r>
          </a:p>
        </p:txBody>
      </p:sp>
      <p:sp>
        <p:nvSpPr>
          <p:cNvPr id="55" name="正方形/長方形 54">
            <a:extLst>
              <a:ext uri="{FF2B5EF4-FFF2-40B4-BE49-F238E27FC236}">
                <a16:creationId xmlns:a16="http://schemas.microsoft.com/office/drawing/2014/main" id="{028CE599-8F4E-3F4F-C381-96657D2EAE7A}"/>
              </a:ext>
            </a:extLst>
          </p:cNvPr>
          <p:cNvSpPr/>
          <p:nvPr/>
        </p:nvSpPr>
        <p:spPr>
          <a:xfrm>
            <a:off x="6486387" y="2022645"/>
            <a:ext cx="2336980" cy="86651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600"/>
              </a:spcBef>
              <a:buFont typeface="Wingdings" pitchFamily="2" charset="2"/>
              <a:buChar char="Ø"/>
            </a:pPr>
            <a:r>
              <a:rPr kumimoji="1" lang="en-US" altLang="ja-JP" sz="105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XXX</a:t>
            </a:r>
            <a:endParaRPr kumimoji="1" lang="ja-JP" altLang="en-US" sz="1050">
              <a:solidFill>
                <a:schemeClr val="tx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6" name="正方形/長方形 55">
            <a:extLst>
              <a:ext uri="{FF2B5EF4-FFF2-40B4-BE49-F238E27FC236}">
                <a16:creationId xmlns:a16="http://schemas.microsoft.com/office/drawing/2014/main" id="{3ED1E428-0D9A-E603-2772-610A573A20D9}"/>
              </a:ext>
            </a:extLst>
          </p:cNvPr>
          <p:cNvSpPr/>
          <p:nvPr/>
        </p:nvSpPr>
        <p:spPr>
          <a:xfrm>
            <a:off x="6486387" y="3759843"/>
            <a:ext cx="2336980" cy="867822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600"/>
              </a:spcBef>
              <a:buFont typeface="Wingdings" pitchFamily="2" charset="2"/>
              <a:buChar char="Ø"/>
            </a:pPr>
            <a:r>
              <a:rPr kumimoji="1" lang="en-US" altLang="ja-JP" sz="105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XXX</a:t>
            </a:r>
            <a:endParaRPr kumimoji="1" lang="ja-JP" altLang="en-US" sz="1050">
              <a:solidFill>
                <a:schemeClr val="tx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7" name="正方形/長方形 56">
            <a:extLst>
              <a:ext uri="{FF2B5EF4-FFF2-40B4-BE49-F238E27FC236}">
                <a16:creationId xmlns:a16="http://schemas.microsoft.com/office/drawing/2014/main" id="{AD6574A1-4F59-D098-D0C6-EDA0D63C5F2C}"/>
              </a:ext>
            </a:extLst>
          </p:cNvPr>
          <p:cNvSpPr/>
          <p:nvPr/>
        </p:nvSpPr>
        <p:spPr>
          <a:xfrm>
            <a:off x="6486387" y="2889155"/>
            <a:ext cx="2336980" cy="874762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600"/>
              </a:spcBef>
              <a:buFont typeface="Wingdings" pitchFamily="2" charset="2"/>
              <a:buChar char="Ø"/>
            </a:pPr>
            <a:r>
              <a:rPr kumimoji="1" lang="en-US" altLang="ja-JP" sz="105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XXX</a:t>
            </a:r>
          </a:p>
        </p:txBody>
      </p:sp>
      <p:sp>
        <p:nvSpPr>
          <p:cNvPr id="58" name="テキスト ボックス 57">
            <a:extLst>
              <a:ext uri="{FF2B5EF4-FFF2-40B4-BE49-F238E27FC236}">
                <a16:creationId xmlns:a16="http://schemas.microsoft.com/office/drawing/2014/main" id="{668773E5-8CF8-64C9-762F-97B1A7C31FDE}"/>
              </a:ext>
            </a:extLst>
          </p:cNvPr>
          <p:cNvSpPr txBox="1"/>
          <p:nvPr/>
        </p:nvSpPr>
        <p:spPr>
          <a:xfrm>
            <a:off x="6831660" y="1686230"/>
            <a:ext cx="165236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1100" b="1" u="sng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課題・改良方針</a:t>
            </a:r>
          </a:p>
        </p:txBody>
      </p:sp>
    </p:spTree>
    <p:extLst>
      <p:ext uri="{BB962C8B-B14F-4D97-AF65-F5344CB8AC3E}">
        <p14:creationId xmlns:p14="http://schemas.microsoft.com/office/powerpoint/2010/main" val="14250779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kumimoji="1" sz="1200" dirty="0" err="1" smtClean="0">
            <a:solidFill>
              <a:schemeClr val="tx1"/>
            </a:solidFill>
            <a:latin typeface="+mn-ea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JISSUI提案書用">
  <a:themeElements>
    <a:clrScheme name="JISSUIカラー">
      <a:dk1>
        <a:srgbClr val="000000"/>
      </a:dk1>
      <a:lt1>
        <a:srgbClr val="FFFFFF"/>
      </a:lt1>
      <a:dk2>
        <a:srgbClr val="CCCCCC"/>
      </a:dk2>
      <a:lt2>
        <a:srgbClr val="4E5059"/>
      </a:lt2>
      <a:accent1>
        <a:srgbClr val="40647F"/>
      </a:accent1>
      <a:accent2>
        <a:srgbClr val="7AABCC"/>
      </a:accent2>
      <a:accent3>
        <a:srgbClr val="B5D1E2"/>
      </a:accent3>
      <a:accent4>
        <a:srgbClr val="E57E17"/>
      </a:accent4>
      <a:accent5>
        <a:srgbClr val="BF1313"/>
      </a:accent5>
      <a:accent6>
        <a:srgbClr val="152583"/>
      </a:accent6>
      <a:hlink>
        <a:srgbClr val="E57E17"/>
      </a:hlink>
      <a:folHlink>
        <a:srgbClr val="BF1313"/>
      </a:folHlink>
    </a:clrScheme>
    <a:fontScheme name="JISSUI_提案書用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tlCol="0" anchor="ctr"/>
      <a:lstStyle>
        <a:defPPr algn="ctr">
          <a:defRPr kumimoji="1" sz="1400" b="1" dirty="0" smtClean="0">
            <a:solidFill>
              <a:schemeClr val="accent1"/>
            </a:solidFill>
            <a:latin typeface="+mn-ea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kumimoji="1" sz="1400" dirty="0" smtClean="0">
            <a:latin typeface="+mn-ea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JISSUI提案書用" id="{247C65AC-8C30-46F3-8569-75F2FE0E7BFF}" vid="{701129D0-CD4C-45FB-8FD0-9B7209CE6268}"/>
    </a:ext>
  </a:extLst>
</a:theme>
</file>

<file path=ppt/theme/theme3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a266c07-9e57-48f6-9d24-c37faef85535" xsi:nil="true"/>
    <lcf76f155ced4ddcb4097134ff3c332f xmlns="7f123cb8-b25c-4f18-8045-5f28363952ea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B165C32A36D43F49BFFDE79D9CAA9C65" ma:contentTypeVersion="12" ma:contentTypeDescription="新しいドキュメントを作成します。" ma:contentTypeScope="" ma:versionID="8ab75cb08d1fd9928025f17d2b5752ee">
  <xsd:schema xmlns:xsd="http://www.w3.org/2001/XMLSchema" xmlns:xs="http://www.w3.org/2001/XMLSchema" xmlns:p="http://schemas.microsoft.com/office/2006/metadata/properties" xmlns:ns2="7f123cb8-b25c-4f18-8045-5f28363952ea" xmlns:ns3="1a266c07-9e57-48f6-9d24-c37faef85535" targetNamespace="http://schemas.microsoft.com/office/2006/metadata/properties" ma:root="true" ma:fieldsID="fab4c4bf43499133aab4ae40eeda2362" ns2:_="" ns3:_="">
    <xsd:import namespace="7f123cb8-b25c-4f18-8045-5f28363952ea"/>
    <xsd:import namespace="1a266c07-9e57-48f6-9d24-c37faef8553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123cb8-b25c-4f18-8045-5f28363952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画像タグ" ma:readOnly="false" ma:fieldId="{5cf76f15-5ced-4ddc-b409-7134ff3c332f}" ma:taxonomyMulti="true" ma:sspId="c1ec0f05-8db9-4cb4-a53b-b8806002f24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266c07-9e57-48f6-9d24-c37faef85535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422064d1-9446-4104-aac6-4e6c7adca8bb}" ma:internalName="TaxCatchAll" ma:showField="CatchAllData" ma:web="1a266c07-9e57-48f6-9d24-c37faef8553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9D2E1D2-3314-4508-BBEE-9BCB9906323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0679599-48B9-4EB3-AB7B-D86C38E8C79B}">
  <ds:schemaRefs>
    <ds:schemaRef ds:uri="5349a56a-7aea-4672-839e-a6f0d3374da0"/>
    <ds:schemaRef ds:uri="5df5b41b-3111-49ff-bda5-723140f97c5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1a266c07-9e57-48f6-9d24-c37faef85535"/>
    <ds:schemaRef ds:uri="7f123cb8-b25c-4f18-8045-5f28363952ea"/>
  </ds:schemaRefs>
</ds:datastoreItem>
</file>

<file path=customXml/itemProps3.xml><?xml version="1.0" encoding="utf-8"?>
<ds:datastoreItem xmlns:ds="http://schemas.openxmlformats.org/officeDocument/2006/customXml" ds:itemID="{4ED65801-3007-4059-BABB-47C0A7BDB14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f123cb8-b25c-4f18-8045-5f28363952ea"/>
    <ds:schemaRef ds:uri="1a266c07-9e57-48f6-9d24-c37faef8553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7</TotalTime>
  <Words>161</Words>
  <Application>Microsoft Office PowerPoint</Application>
  <PresentationFormat>画面に合わせる (16:9)</PresentationFormat>
  <Paragraphs>34</Paragraphs>
  <Slides>1</Slides>
  <Notes>1</Notes>
  <HiddenSlides>0</HiddenSlides>
  <MMClips>0</MMClips>
  <ScaleCrop>false</ScaleCrop>
  <HeadingPairs>
    <vt:vector size="4" baseType="variant">
      <vt:variant>
        <vt:lpstr>テーマ</vt:lpstr>
      </vt:variant>
      <vt:variant>
        <vt:i4>2</vt:i4>
      </vt:variant>
      <vt:variant>
        <vt:lpstr>スライド タイトル</vt:lpstr>
      </vt:variant>
      <vt:variant>
        <vt:i4>1</vt:i4>
      </vt:variant>
    </vt:vector>
  </HeadingPairs>
  <TitlesOfParts>
    <vt:vector size="3" baseType="lpstr">
      <vt:lpstr>ホワイト</vt:lpstr>
      <vt:lpstr>JISSUI提案書用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メインタイトルメインタイトル</dc:title>
  <dc:creator>Microsoft Office ユーザー</dc:creator>
  <cp:lastModifiedBy>北村 友一</cp:lastModifiedBy>
  <cp:revision>9</cp:revision>
  <dcterms:created xsi:type="dcterms:W3CDTF">2017-08-07T14:21:33Z</dcterms:created>
  <dcterms:modified xsi:type="dcterms:W3CDTF">2024-11-01T03:05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165C32A36D43F49BFFDE79D9CAA9C65</vt:lpwstr>
  </property>
  <property fmtid="{D5CDD505-2E9C-101B-9397-08002B2CF9AE}" pid="3" name="MediaServiceImageTags">
    <vt:lpwstr/>
  </property>
</Properties>
</file>